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25"/>
  </p:notesMasterIdLst>
  <p:sldIdLst>
    <p:sldId id="376" r:id="rId5"/>
    <p:sldId id="351" r:id="rId6"/>
    <p:sldId id="378" r:id="rId7"/>
    <p:sldId id="355" r:id="rId8"/>
    <p:sldId id="379" r:id="rId9"/>
    <p:sldId id="356" r:id="rId10"/>
    <p:sldId id="343" r:id="rId11"/>
    <p:sldId id="359" r:id="rId12"/>
    <p:sldId id="344" r:id="rId13"/>
    <p:sldId id="380" r:id="rId14"/>
    <p:sldId id="382" r:id="rId15"/>
    <p:sldId id="381" r:id="rId16"/>
    <p:sldId id="383" r:id="rId17"/>
    <p:sldId id="362" r:id="rId18"/>
    <p:sldId id="341" r:id="rId19"/>
    <p:sldId id="363" r:id="rId20"/>
    <p:sldId id="337" r:id="rId21"/>
    <p:sldId id="366" r:id="rId22"/>
    <p:sldId id="347" r:id="rId23"/>
    <p:sldId id="377" r:id="rId24"/>
  </p:sldIdLst>
  <p:sldSz cx="9144000" cy="6858000" type="screen4x3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Objects="1" showGuides="1">
      <p:cViewPr varScale="1">
        <p:scale>
          <a:sx n="82" d="100"/>
          <a:sy n="82" d="100"/>
        </p:scale>
        <p:origin x="1474" y="62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2FBC77-7EAA-47DC-9D0A-037320CFFB32}" type="datetimeFigureOut">
              <a:rPr lang="en-GB" smtClean="0"/>
              <a:pPr/>
              <a:t>17/09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10A3D1-D988-445D-9576-5E712FC7B33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1681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0A3D1-D988-445D-9576-5E712FC7B33B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28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EC59E17-B042-4C88-BA66-87702056D1FD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C62EBF3-CCDF-43B4-BCBF-074B243E0D41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ACCD2AE-72C4-437D-AD21-65BC81A1B8B8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0CFD09B-3317-4608-A872-B80D908F745B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5AF6D8-E9AF-4CCF-B9E6-BFFAA6773CF0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3A07625-A32A-4DFE-AFA1-DED885A18F60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9B3718-6239-4A9C-B88A-D8B6A02C9471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5E4A5F-3E2A-4D3D-A0A3-7841745E5156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833548-1074-4BF5-B159-D9E36CC6A3FD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F1F461B-85FB-4014-B8F2-755308FE30CE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34267C8-45DF-4315-9AC8-2AED8F858CCA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8CE5A72-F88D-4518-B79F-9C140D4CCC63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6B21A3-02CC-4C62-8A73-92A80DDF87A2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FBDE3C-E911-439C-B5A2-5F310C59E98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F4A5E2-AA92-46B8-B7CA-D3FB1483370E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969DF9D9-6485-4E5C-BD97-1711F6B8C16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Sameer Ruparelia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3" Type="http://schemas.openxmlformats.org/officeDocument/2006/relationships/tags" Target="../tags/tag116.xml"/><Relationship Id="rId21" Type="http://schemas.openxmlformats.org/officeDocument/2006/relationships/tags" Target="../tags/tag134.xml"/><Relationship Id="rId34" Type="http://schemas.openxmlformats.org/officeDocument/2006/relationships/slide" Target="slide18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slide" Target="slide16.xml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29" Type="http://schemas.openxmlformats.org/officeDocument/2006/relationships/slide" Target="slide2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tags" Target="../tags/tag137.xml"/><Relationship Id="rId32" Type="http://schemas.openxmlformats.org/officeDocument/2006/relationships/slide" Target="slide8.xml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tags" Target="../tags/tag136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31" Type="http://schemas.openxmlformats.org/officeDocument/2006/relationships/slide" Target="slide6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slide" Target="slide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5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34" Type="http://schemas.openxmlformats.org/officeDocument/2006/relationships/slide" Target="slide18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slide" Target="slide14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29" Type="http://schemas.openxmlformats.org/officeDocument/2006/relationships/slide" Target="slide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slide" Target="slide8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slide" Target="slide6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slide" Target="slide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26" Type="http://schemas.openxmlformats.org/officeDocument/2006/relationships/tags" Target="../tags/tag193.xml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34" Type="http://schemas.openxmlformats.org/officeDocument/2006/relationships/slide" Target="slide16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tags" Target="../tags/tag192.xml"/><Relationship Id="rId33" Type="http://schemas.openxmlformats.org/officeDocument/2006/relationships/slide" Target="slide14.xm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29" Type="http://schemas.openxmlformats.org/officeDocument/2006/relationships/slide" Target="slide2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tags" Target="../tags/tag191.xml"/><Relationship Id="rId32" Type="http://schemas.openxmlformats.org/officeDocument/2006/relationships/slide" Target="slide8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tags" Target="../tags/tag190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31" Type="http://schemas.openxmlformats.org/officeDocument/2006/relationships/slide" Target="slide6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tags" Target="../tags/tag189.xml"/><Relationship Id="rId27" Type="http://schemas.openxmlformats.org/officeDocument/2006/relationships/tags" Target="../tags/tag194.xml"/><Relationship Id="rId30" Type="http://schemas.openxmlformats.org/officeDocument/2006/relationships/slide" Target="slide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slide" Target="slide1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slide" Target="slide16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slide" Target="slide4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slide" Target="slide14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slide" Target="slide8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slide" Target="slide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34" Type="http://schemas.openxmlformats.org/officeDocument/2006/relationships/slide" Target="slide18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slide" Target="slide16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slide" Target="slide2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slide" Target="slide14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slide" Target="slide8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slide" Target="slide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34" Type="http://schemas.openxmlformats.org/officeDocument/2006/relationships/slide" Target="slide18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slide" Target="slide1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slide" Target="slide2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slide" Target="slide14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slide" Target="slide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slide" Target="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tags" Target="../tags/tag112.xml"/><Relationship Id="rId3" Type="http://schemas.openxmlformats.org/officeDocument/2006/relationships/tags" Target="../tags/tag89.xml"/><Relationship Id="rId21" Type="http://schemas.openxmlformats.org/officeDocument/2006/relationships/tags" Target="../tags/tag107.xml"/><Relationship Id="rId34" Type="http://schemas.openxmlformats.org/officeDocument/2006/relationships/slide" Target="slide18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33" Type="http://schemas.openxmlformats.org/officeDocument/2006/relationships/slide" Target="slide16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tags" Target="../tags/tag106.xml"/><Relationship Id="rId29" Type="http://schemas.openxmlformats.org/officeDocument/2006/relationships/slide" Target="slide2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tags" Target="../tags/tag110.xml"/><Relationship Id="rId32" Type="http://schemas.openxmlformats.org/officeDocument/2006/relationships/slide" Target="slide14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96.xml"/><Relationship Id="rId19" Type="http://schemas.openxmlformats.org/officeDocument/2006/relationships/tags" Target="../tags/tag105.xml"/><Relationship Id="rId31" Type="http://schemas.openxmlformats.org/officeDocument/2006/relationships/slide" Target="slide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slide" Target="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KEYVISUAL_ES_PPT_NEU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0975" y="188640"/>
            <a:ext cx="8783638" cy="3965575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O Driver Training Slid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CU17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ww.continental-corporation.com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v. 1.0 / 09-Aug-2018 / P ES SE EEA BSWP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764705"/>
            <a:ext cx="8353425" cy="5112219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Port pin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ClrTx/>
              <a:buNone/>
            </a:pP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MSC Channel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>
              <a:buClrTx/>
              <a:buNone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8" y="296863"/>
            <a:ext cx="8353425" cy="467842"/>
          </a:xfrm>
        </p:spPr>
        <p:txBody>
          <a:bodyPr/>
          <a:lstStyle/>
          <a:p>
            <a:r>
              <a:rPr lang="en-GB" dirty="0"/>
              <a:t>Configuration Examp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4371D8-FDD4-4911-966D-4730E3764C1A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31640" y="972284"/>
            <a:ext cx="6880250" cy="2357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31640" y="3933056"/>
            <a:ext cx="4107334" cy="1663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17D87D5-9FE4-4D31-BAE5-1334A895D8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8" y="1015999"/>
            <a:ext cx="8353425" cy="4860925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ASIC Channel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ClrTx/>
              <a:buNone/>
            </a:pPr>
            <a:endParaRPr lang="en-US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ASIC channel parallel control over MSC channel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D17434-E3D4-450F-8A8A-068A7AC72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guration Examp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24B335-B2FA-487E-BCC5-0CDCA9C89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F461B-85FB-4014-B8F2-755308FE30CE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643285-A593-4691-8C55-F85052C16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D93011-9324-48AF-9A42-2BA24221F6A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3DC44E1-CEF6-4DA9-B07E-16BB9D270E3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83568" y="1412776"/>
            <a:ext cx="5906135" cy="15824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D7C80-0153-4A0F-8709-E9E6AABF7EE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99592" y="3859135"/>
            <a:ext cx="5906135" cy="171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32579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908721"/>
            <a:ext cx="8353425" cy="4968204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ASIC channel parallel control over PORT channel.</a:t>
            </a:r>
            <a:br>
              <a:rPr lang="en-GB" dirty="0"/>
            </a:b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guration Examp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4371D8-FDD4-4911-966D-4730E3764C1A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pic>
        <p:nvPicPr>
          <p:cNvPr id="10" name="Picture 9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2204864"/>
            <a:ext cx="5742940" cy="1065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CB218A-E6B2-401E-B838-FEB68D4C0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419" y="1314603"/>
            <a:ext cx="8353425" cy="4535487"/>
          </a:xfrm>
        </p:spPr>
        <p:txBody>
          <a:bodyPr/>
          <a:lstStyle/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Access to all pins of same Port peripheral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dirty="0"/>
              <a:t>DioChannelGroup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692A0C3-5F70-4932-B357-D099A1FCA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guration Examp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21C235-862B-452A-8217-B270B0D6B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F461B-85FB-4014-B8F2-755308FE30CE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CDA161-AEB9-4B39-9D28-3ACB5CFDC4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003D0-722F-443E-9296-4EED3A1925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kshata Hosamani, © Continental AG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71D57E4-5DC4-4333-8F75-24DB7AFD1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616" y="3847421"/>
            <a:ext cx="5114925" cy="14668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8A0D783-A56F-43CC-A572-D4191AC1BE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1628800"/>
            <a:ext cx="7776864" cy="1557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44391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1431A1-2A5A-426E-B6D1-0CF7E376E97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70" name="Gruppieren 169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44" name="Rechteck 143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45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46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7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8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49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0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1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52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3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en-US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</a:p>
          </p:txBody>
        </p:sp>
        <p:sp>
          <p:nvSpPr>
            <p:cNvPr id="155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6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7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8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59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0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61" name="Rectangle 1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62" name="Rectangle 1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3" name="Rectangle 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7748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3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64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</a:p>
          </p:txBody>
        </p:sp>
        <p:sp>
          <p:nvSpPr>
            <p:cNvPr id="165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6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7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</a:p>
          </p:txBody>
        </p:sp>
        <p:sp>
          <p:nvSpPr>
            <p:cNvPr id="168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endencie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A19E5-23D9-477E-A5C2-58D4979BC526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graphicFrame>
        <p:nvGraphicFramePr>
          <p:cNvPr id="4099" name="Object 3"/>
          <p:cNvGraphicFramePr>
            <a:graphicFrameLocks noGrp="1" noChangeAspect="1"/>
          </p:cNvGraphicFramePr>
          <p:nvPr>
            <p:ph idx="1"/>
          </p:nvPr>
        </p:nvGraphicFramePr>
        <p:xfrm>
          <a:off x="179388" y="1412875"/>
          <a:ext cx="4030662" cy="3621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" name="Visio" r:id="rId3" imgW="4030654" imgH="3621391" progId="">
                  <p:embed/>
                </p:oleObj>
              </mc:Choice>
              <mc:Fallback>
                <p:oleObj name="Visio" r:id="rId3" imgW="4030654" imgH="3621391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388" y="1412875"/>
                        <a:ext cx="4030662" cy="36210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0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9171493"/>
              </p:ext>
            </p:extLst>
          </p:nvPr>
        </p:nvGraphicFramePr>
        <p:xfrm>
          <a:off x="2556669" y="1196752"/>
          <a:ext cx="4030662" cy="36210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" name="Visio" r:id="rId5" imgW="4030654" imgH="3621391" progId="">
                  <p:embed/>
                </p:oleObj>
              </mc:Choice>
              <mc:Fallback>
                <p:oleObj name="Visio" r:id="rId5" imgW="4030654" imgH="3621391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6669" y="1196752"/>
                        <a:ext cx="4030662" cy="36210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38FA5-68A0-4DDF-9B53-9F9B66C5C824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70" name="Gruppieren 169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44" name="Rechteck 143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45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46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7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8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</a:p>
          </p:txBody>
        </p:sp>
        <p:sp>
          <p:nvSpPr>
            <p:cNvPr id="149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0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1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52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3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5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56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7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58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59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0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61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2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3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4" name="Rectangle 1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65" name="Rectangle 1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6" name="Rectangle 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7748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5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67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68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0768"/>
            <a:ext cx="8353425" cy="4535487"/>
          </a:xfrm>
        </p:spPr>
        <p:txBody>
          <a:bodyPr>
            <a:normAutofit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General Purpose I/O Ports and Peripheral I/O Lines (Ports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MSC and ASIC input/output channe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W Resourc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4327B-DB09-4F1C-8373-1F8E3144B0FA}" type="datetime3">
              <a:rPr lang="en-US" noProof="0" smtClean="0"/>
              <a:pPr/>
              <a:t>17 September 2019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547E-D1F3-4A9C-AAA4-299E5FBE8B00}" type="datetime3">
              <a:rPr lang="en-US" noProof="0" smtClean="0"/>
              <a:pPr/>
              <a:t>17 September 2019</a:t>
            </a:fld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6332815" y="6368602"/>
            <a:ext cx="2001935" cy="150440"/>
          </a:xfrm>
        </p:spPr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47" name="Gruppieren 146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21" name="Rechteck 120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dirty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</a:p>
          </p:txBody>
        </p:sp>
        <p:sp>
          <p:nvSpPr>
            <p:cNvPr id="122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23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24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5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26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27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8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29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30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1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2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33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4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5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36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7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38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39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0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1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42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3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4" name="Rectangle 1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5" name="Rectangle 1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6" name="Rectangle 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7748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7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Check microcontroller manual for available port channels which can be used for DIO application.</a:t>
            </a:r>
          </a:p>
          <a:p>
            <a:pPr lvl="0">
              <a:buClrTx/>
              <a:buFont typeface="Arial" panose="020B0604020202020204" pitchFamily="34" charset="0"/>
              <a:buChar char="•"/>
            </a:pPr>
            <a:r>
              <a:rPr lang="en-US" dirty="0"/>
              <a:t>PORT/MSC/ASIC channels need to be configured in the respective drivers before they are used by DIO operations. All dependent drivers must be initialized before DIO driver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MSC and ASIC pre-process should be called before DIO pre-process if they are controlled by DIO.</a:t>
            </a:r>
          </a:p>
          <a:p>
            <a:pPr lvl="0">
              <a:buClrTx/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straints &amp; Limitation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C4825-33B2-4D76-A7BA-2313B488699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14E1C-429F-4D84-B2B5-14AD439F20F6}" type="datetime3">
              <a:rPr lang="en-US" noProof="0" smtClean="0"/>
              <a:pPr/>
              <a:t>17 September 2019</a:t>
            </a:fld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</a:t>
            </a:r>
            <a:r>
              <a:rPr lang="en-US" noProof="0" dirty="0"/>
              <a:t>, © Continental AG</a:t>
            </a:r>
          </a:p>
        </p:txBody>
      </p:sp>
      <p:grpSp>
        <p:nvGrpSpPr>
          <p:cNvPr id="196" name="Gruppieren 19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70" name="Rechteck 169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dirty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</a:p>
          </p:txBody>
        </p:sp>
        <p:sp>
          <p:nvSpPr>
            <p:cNvPr id="171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tx2"/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72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3" name="Rectangle 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7748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2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4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5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6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7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8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9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0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1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2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3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5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6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7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8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9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0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1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2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3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4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5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7147770"/>
              </p:ext>
            </p:extLst>
          </p:nvPr>
        </p:nvGraphicFramePr>
        <p:xfrm>
          <a:off x="395288" y="1341438"/>
          <a:ext cx="835342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4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ha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id</a:t>
                      </a:r>
                      <a:r>
                        <a:rPr lang="en-US" baseline="0" dirty="0"/>
                        <a:t> fo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.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rst</a:t>
                      </a:r>
                      <a:r>
                        <a:rPr lang="en-US" baseline="0" dirty="0"/>
                        <a:t> version for ECU1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O_1.3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Histor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CC5B08-9A47-4627-B5B8-7D6B5B8DE82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ln>
            <a:noFill/>
          </a:ln>
        </p:spPr>
        <p:txBody>
          <a:bodyPr>
            <a:normAutofit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The generic DIO functionality handles the microcontroller's pins (e.g. PORT or MSC) and ASIC pins. The driver is able to read the logical level or physical state of a pin and to control the logical level or physical state of an output pin.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/>
              <a:t>All processor resources are covered which are able to perform the DIO functionality for setting or getting the state or level.</a:t>
            </a:r>
          </a:p>
          <a:p>
            <a:pPr lvl="1">
              <a:buNone/>
            </a:pPr>
            <a:endParaRPr lang="en-US" dirty="0"/>
          </a:p>
          <a:p>
            <a:pPr lvl="1">
              <a:buNone/>
            </a:pPr>
            <a:endParaRPr lang="en-US" dirty="0"/>
          </a:p>
          <a:p>
            <a:pPr lvl="1">
              <a:buNone/>
            </a:pPr>
            <a:endParaRPr lang="en-US" dirty="0"/>
          </a:p>
          <a:p>
            <a:pPr>
              <a:buNone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nctional Description &amp; Features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B7210-5D9C-40D2-800C-B8644B19AF3C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4" y="6375515"/>
            <a:ext cx="2026045" cy="150440"/>
          </a:xfrm>
        </p:spPr>
        <p:txBody>
          <a:bodyPr/>
          <a:lstStyle/>
          <a:p>
            <a:r>
              <a:rPr lang="en-US" dirty="0"/>
              <a:t>Akshata Hosamani, </a:t>
            </a:r>
            <a:r>
              <a:rPr lang="en-US" noProof="0" dirty="0"/>
              <a:t>© Continental AG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9F79D-F82C-48EA-B1D1-84988391D7F9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92" name="Gruppieren 191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66" name="Rechteck 165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7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68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0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1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2" name="Rectangle 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7748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6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3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74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5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6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7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8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9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0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1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3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5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6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7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8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9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0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1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Init</a:t>
            </a:r>
            <a:r>
              <a:rPr lang="en-US" dirty="0"/>
              <a:t> - It initializes the given configuration instance.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SetOutput</a:t>
            </a:r>
            <a:r>
              <a:rPr lang="en-US" dirty="0"/>
              <a:t> - It sets the logical level or physical state of the given DIO channel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GetOutput</a:t>
            </a:r>
            <a:r>
              <a:rPr lang="en-US" dirty="0"/>
              <a:t> - It gets the logical level or physical state of the given DIO channel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ReadChannelGroup</a:t>
            </a:r>
            <a:r>
              <a:rPr lang="en-US" dirty="0"/>
              <a:t>- It reads a subset of the adjoining bits of a port, as an LSB aligned valu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WriteChannelGroup</a:t>
            </a:r>
            <a:r>
              <a:rPr lang="en-US" dirty="0"/>
              <a:t>- It sets a subset of the adjoining bits of a port to a specified level, without changing the remaining channels of the port and the channels configured as input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ReadPort</a:t>
            </a:r>
            <a:r>
              <a:rPr lang="en-US" dirty="0"/>
              <a:t>- It reads the level of all channels of a port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WritePort</a:t>
            </a:r>
            <a:r>
              <a:rPr lang="en-US" dirty="0"/>
              <a:t>- It sets the level of all channels of a port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dirty="0" err="1"/>
              <a:t>Iopt_Dio_FlipChannel</a:t>
            </a:r>
            <a:r>
              <a:rPr lang="en-US" dirty="0"/>
              <a:t>- It flips the level of a channel (change from 1 to 0 or from 0 to 1)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I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EAF4A-84A8-4165-8BC1-0329FC9CE24C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8DD90-0790-4ED6-B5EF-B5DEE6F03739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6340061" y="6375515"/>
            <a:ext cx="2001935" cy="150440"/>
          </a:xfrm>
        </p:spPr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92" name="Gruppieren 191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66" name="Rechteck 165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7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68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9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0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1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2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3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Integration Highlights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4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5" name="Rectangle 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7748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8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76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7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8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6852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0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9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0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1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3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5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6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7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8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9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0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1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GB" dirty="0"/>
              <a:t>DIO driver is dependent on MSC and ASIC configurations if these pins are controlled via DIO operations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ion Highlight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FFD67-7380-45FC-86D4-8641205AE35F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F5001-AC0D-4018-B0E3-93BBAB0078E0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grpSp>
        <p:nvGrpSpPr>
          <p:cNvPr id="194" name="Gruppieren 193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4087472"/>
            <a:chOff x="395536" y="306176"/>
            <a:chExt cx="8496943" cy="4087472"/>
          </a:xfrm>
        </p:grpSpPr>
        <p:sp>
          <p:nvSpPr>
            <p:cNvPr id="168" name="Rechteck 167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9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unctional Description &amp; Features</a:t>
              </a:r>
            </a:p>
          </p:txBody>
        </p:sp>
        <p:sp>
          <p:nvSpPr>
            <p:cNvPr id="170" name="Rectangle 15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1" name="Rectangle 3">
              <a:hlinkClick r:id="rId29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946852" y="13464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2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2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Is</a:t>
              </a:r>
            </a:p>
          </p:txBody>
        </p:sp>
        <p:sp>
          <p:nvSpPr>
            <p:cNvPr id="173" name="Rectangle 15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4" name="Rectangle 3">
              <a:hlinkClick r:id="rId30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946852" y="16912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6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5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Integration Highlights</a:t>
              </a:r>
            </a:p>
          </p:txBody>
        </p:sp>
        <p:sp>
          <p:nvSpPr>
            <p:cNvPr id="176" name="Rectangle 15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7" name="Rectangle 3">
              <a:hlinkClick r:id="rId31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946852" y="2036083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8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8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tx2"/>
                  </a:solidFill>
                  <a:latin typeface="Arial"/>
                </a:rPr>
                <a:t>Configuration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9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0" name="Rectangle 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947748" y="2380882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1"/>
                  </a:solidFill>
                </a:rPr>
                <a:t>10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181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9568" y="2725682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Structur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2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83566" y="2725682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1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3" name="Rectangle 1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79568" y="3070865"/>
              <a:ext cx="7668001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35120" rIns="70239" bIns="35120" anchor="ctr"/>
            <a:lstStyle/>
            <a:p>
              <a:pPr marL="238125" indent="-238125">
                <a:tabLst>
                  <a:tab pos="4391025" algn="l"/>
                  <a:tab pos="7715250" algn="r"/>
                </a:tabLst>
              </a:pPr>
              <a:r>
                <a:rPr lang="de-DE" sz="140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figuration Example</a:t>
              </a:r>
              <a:endParaRPr lang="de-DE" sz="1400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4" name="Rectangle 1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83566" y="3070865"/>
              <a:ext cx="432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90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sz="1400" b="1">
                  <a:latin typeface="Arial"/>
                </a:rPr>
                <a:t>4.2</a:t>
              </a:r>
              <a:endParaRPr lang="de-DE" sz="1400" b="1" dirty="0">
                <a:latin typeface="Arial"/>
              </a:endParaRPr>
            </a:p>
          </p:txBody>
        </p:sp>
        <p:sp>
          <p:nvSpPr>
            <p:cNvPr id="185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83568" y="34160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pendenci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6" name="Rectangle 15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5536" y="34160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7" name="Rectangle 3">
              <a:hlinkClick r:id="rId32" action="ppaction://hlinksldjump"/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946852" y="34160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3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8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83568" y="37608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HW Resource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89" name="Rectangle 15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95536" y="37608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6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0" name="Rectangle 3">
              <a:hlinkClick r:id="rId33" action="ppaction://hlinksldjump"/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7946852" y="37608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5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1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83568" y="4105648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nstraints &amp; Limitations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92" name="Rectangle 15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95536" y="4105648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7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3" name="Rectangle 3">
              <a:hlinkClick r:id="rId34" action="ppaction://hlinksldjump"/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946852" y="4105648"/>
              <a:ext cx="647175" cy="288000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b="1">
                  <a:solidFill>
                    <a:schemeClr val="bg2">
                      <a:lumMod val="10000"/>
                    </a:schemeClr>
                  </a:solidFill>
                </a:rPr>
                <a:t>17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guration Structur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AC160-C41A-48EA-8140-42CE8269CEB5}" type="datetime3">
              <a:rPr lang="en-US" noProof="0" smtClean="0"/>
              <a:pPr/>
              <a:t>17 September 2019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kshata Hosamani, © Continental AG</a:t>
            </a:r>
          </a:p>
        </p:txBody>
      </p:sp>
      <p:pic>
        <p:nvPicPr>
          <p:cNvPr id="8" name="Content Placeholder 7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704344" y="1512209"/>
            <a:ext cx="3648075" cy="1638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1512209"/>
            <a:ext cx="2400300" cy="227647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Dependencie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HW Resource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Constraints &amp; Limitation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API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Functional Description &amp; Feature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Integration Highlights"/>
  <p:tag name="MIO_AGENDA_CREATE_AGENDA_SLIDENUMBERS_TAG" val="True"/>
  <p:tag name="MIO_AGENDA_SHOW_ALL_SUBITEMS_TAG" val="True"/>
  <p:tag name="MIO_EK" val="421"/>
  <p:tag name="MIO_VERSION" val="31.12.9999 23:59:59"/>
  <p:tag name="MIO_DBID" val="ED9FF2F2-6643-46BA-B685-7D49126FFAFF"/>
  <p:tag name="MIO_UPDATE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HIGHLIGHT_PAGENUMBER"/>
  <p:tag name="MIO_SKIP_CDCHECK?" val="True"/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30E62AA-24FE-484C-A1C3-DC272F7A31F7"/>
  <p:tag name="MIO_SHAPETYPES_AGENDA" val="MIO_AGENDA_SUBELEMENT"/>
  <p:tag name="MIO_SKIP_CDCHECK?" val="True"/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  <p:tag name="MIO_GUID" val="297367CB-F030-4B13-9EB7-97563590A2A1"/>
  <p:tag name="MIO_SKIP_CDCHECK?" val="True"/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Configuration"/>
  <p:tag name="MIO_AGENDA_CREATE_AGENDA_SLIDENUMBERS_TAG" val="True"/>
  <p:tag name="MIO_AGENDA_SHOW_ALL_SUBITEMS_TAG" val="True"/>
  <p:tag name="MIO_AGENDA_SUBITEMS" val="Configuration Structure&#10;Configuration Example"/>
  <p:tag name="MIO_EK" val="421"/>
  <p:tag name="MIO_VERSION" val="31.12.9999 23:59:59"/>
  <p:tag name="MIO_DBID" val="ED9FF2F2-6643-46BA-B685-7D49126FFAFF"/>
  <p:tag name="MIO_UPDATE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54"/>
  <p:tag name="MIO_GUID" val="8919578d-d52e-48fa-b1f2-827f267a82d6"/>
  <p:tag name="MIO_UPDATE" val="True"/>
  <p:tag name="MIO_VERSION" val="14.01.2011 19:54:12"/>
  <p:tag name="MIO_DBID" val="1356a435-19f4-4b86-820e-539aceb2f9d2"/>
  <p:tag name="MIO_SHAPETYPES_AGENDA" val="MIO_AGENDA_FIRSTELEMENT_PAGENUMBER"/>
  <p:tag name="MIO_SKIP_CDCHECK?" val="True"/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(CCT)" ma:contentTypeID="0x010100C54AEFCD9DBB4E319E8DEF77F32B830D00559DCBCAA6BF8B4C8C4170D224F0B401" ma:contentTypeVersion="27" ma:contentTypeDescription="Document Content Type (CCT)" ma:contentTypeScope="" ma:versionID="027c889db81a090d3de2e5480fcdf139">
  <xsd:schema xmlns:xsd="http://www.w3.org/2001/XMLSchema" xmlns:xs="http://www.w3.org/2001/XMLSchema" xmlns:p="http://schemas.microsoft.com/office/2006/metadata/properties" xmlns:ns1="http://schemas.microsoft.com/sharepoint/v3" xmlns:ns3="2b58d1a8-bea5-41b5-8c79-f5856396d7c9" targetNamespace="http://schemas.microsoft.com/office/2006/metadata/properties" ma:root="true" ma:fieldsID="0ef92454cc82a1f6d8bb2a1c322cb363" ns1:_="" ns3:_="">
    <xsd:import namespace="http://schemas.microsoft.com/sharepoint/v3"/>
    <xsd:import namespace="2b58d1a8-bea5-41b5-8c79-f5856396d7c9"/>
    <xsd:element name="properties">
      <xsd:complexType>
        <xsd:sequence>
          <xsd:element name="documentManagement">
            <xsd:complexType>
              <xsd:all>
                <xsd:element ref="ns1:Language" minOccurs="0"/>
                <xsd:element ref="ns1:Status" minOccurs="0"/>
                <xsd:element ref="ns1:Owner" minOccurs="0"/>
                <xsd:element ref="ns1:SecurityClass" minOccurs="0"/>
                <xsd:element ref="ns1:ValidUntil" minOccurs="0"/>
                <xsd:element ref="ns3:OrgFileExt" minOccurs="0"/>
                <xsd:element ref="ns3:CurItemEx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0" nillable="true" ma:displayName="Language" ma:default="English (en)" ma:description="Document Language" ma:internalName="Language" ma:readOnly="false">
      <xsd:simpleType>
        <xsd:restriction base="dms:Choice">
          <xsd:enumeration value="Arabic (ar)"/>
          <xsd:enumeration value="Bulgarian (bg)"/>
          <xsd:enumeration value="Chinese (zh)"/>
          <xsd:enumeration value="Croatian (hr)"/>
          <xsd:enumeration value="Czech (cs)"/>
          <xsd:enumeration value="Danish (da)"/>
          <xsd:enumeration value="Dutch (nl)"/>
          <xsd:enumeration value="English (en)"/>
          <xsd:enumeration value="Estonian (et)"/>
          <xsd:enumeration value="Finnish (fi)"/>
          <xsd:enumeration value="French (fr)"/>
          <xsd:enumeration value="German (de)"/>
          <xsd:enumeration value="Greek (el)"/>
          <xsd:enumeration value="Hebrew (he)"/>
          <xsd:enumeration value="Hindi (hi)"/>
          <xsd:enumeration value="Hungarian (hu)"/>
          <xsd:enumeration value="Indonesian (id)"/>
          <xsd:enumeration value="Italian (it)"/>
          <xsd:enumeration value="Japanese (ja)"/>
          <xsd:enumeration value="Korean (ko)"/>
          <xsd:enumeration value="Latvian (lv)"/>
          <xsd:enumeration value="Lithuanian (lt)"/>
          <xsd:enumeration value="Malay (ms)"/>
          <xsd:enumeration value="Norwegian (no)"/>
          <xsd:enumeration value="Polish (pl)"/>
          <xsd:enumeration value="Portuguese (pt)"/>
          <xsd:enumeration value="Romanian (ro)"/>
          <xsd:enumeration value="Russian (ru)"/>
          <xsd:enumeration value="Serbian (sr)"/>
          <xsd:enumeration value="Slovak (sk)"/>
          <xsd:enumeration value="Slovenian (sl)"/>
          <xsd:enumeration value="Spanish (es)"/>
          <xsd:enumeration value="Swedish (sv)"/>
          <xsd:enumeration value="Thai (th)"/>
          <xsd:enumeration value="Turkish (tr)"/>
          <xsd:enumeration value="Ukrainian (uk)"/>
          <xsd:enumeration value="Urdu (ur)"/>
          <xsd:enumeration value="Vietnamese (vi)"/>
        </xsd:restriction>
      </xsd:simpleType>
    </xsd:element>
    <xsd:element name="Status" ma:index="11" nillable="true" ma:displayName="Status" ma:default="Draft" ma:description="Document Status" ma:internalName="Status" ma:readOnly="false">
      <xsd:simpleType>
        <xsd:restriction base="dms:Choice">
          <xsd:enumeration value=""/>
          <xsd:enumeration value="Not started"/>
          <xsd:enumeration value="Draft"/>
          <xsd:enumeration value="Reviewed"/>
          <xsd:enumeration value="Released"/>
          <xsd:enumeration value="Valid"/>
          <xsd:enumeration value="Outdated"/>
          <xsd:enumeration value="Invalid"/>
        </xsd:restriction>
      </xsd:simpleType>
    </xsd:element>
    <xsd:element name="Owner" ma:index="12" nillable="true" ma:displayName="Owner of the Document" ma:description="Owner of the Document" ma:internalName="Owner_x0020_of_x0020_the_x0020_Document" ma:readOnly="false">
      <xsd:simpleType>
        <xsd:restriction base="dms:Text"/>
      </xsd:simpleType>
    </xsd:element>
    <xsd:element name="SecurityClass" ma:index="13" nillable="true" ma:displayName="Security Class" ma:default="Internal" ma:description="Security Class of Document" ma:internalName="Security_x0020_Class" ma:readOnly="false">
      <xsd:simpleType>
        <xsd:restriction base="dms:Choice">
          <xsd:enumeration value="Internal"/>
          <xsd:enumeration value="Public"/>
          <xsd:enumeration value="Confidential"/>
        </xsd:restriction>
      </xsd:simpleType>
    </xsd:element>
    <xsd:element name="ValidUntil" ma:index="14" nillable="true" ma:displayName="Valid Until" ma:description="Document Valid Until" ma:format="DateOnly" ma:internalName="Valid_x0020_Until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58d1a8-bea5-41b5-8c79-f5856396d7c9" elementFormDefault="qualified">
    <xsd:import namespace="http://schemas.microsoft.com/office/2006/documentManagement/types"/>
    <xsd:import namespace="http://schemas.microsoft.com/office/infopath/2007/PartnerControls"/>
    <xsd:element name="OrgFileExt" ma:index="15" nillable="true" ma:displayName="Orginal Ext" ma:internalName="Orginal_x0020_Ext" ma:readOnly="true">
      <xsd:simpleType>
        <xsd:restriction base="dms:Text"/>
      </xsd:simpleType>
    </xsd:element>
    <xsd:element name="CurItemExt" ma:index="16" nillable="true" ma:displayName="Current Ext" ma:internalName="Current_x0020_Ext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 (en)</Language>
    <Status xmlns="http://schemas.microsoft.com/sharepoint/v3">Draft</Status>
    <Owner xmlns="http://schemas.microsoft.com/sharepoint/v3" xsi:nil="true"/>
    <ValidUntil xmlns="http://schemas.microsoft.com/sharepoint/v3" xsi:nil="true"/>
    <SecurityClass xmlns="http://schemas.microsoft.com/sharepoint/v3">Internal</SecurityClass>
  </documentManagement>
</p:properties>
</file>

<file path=customXml/itemProps1.xml><?xml version="1.0" encoding="utf-8"?>
<ds:datastoreItem xmlns:ds="http://schemas.openxmlformats.org/officeDocument/2006/customXml" ds:itemID="{29E097AD-E39B-43A4-B250-3DDCB4F17EF8}"/>
</file>

<file path=customXml/itemProps2.xml><?xml version="1.0" encoding="utf-8"?>
<ds:datastoreItem xmlns:ds="http://schemas.openxmlformats.org/officeDocument/2006/customXml" ds:itemID="{3C4B3246-D8A7-4E7F-95CA-6A9C0144B5BD}"/>
</file>

<file path=customXml/itemProps3.xml><?xml version="1.0" encoding="utf-8"?>
<ds:datastoreItem xmlns:ds="http://schemas.openxmlformats.org/officeDocument/2006/customXml" ds:itemID="{9752ED18-8FA1-4FC7-BEB0-D0D06BBE1947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9</Words>
  <Application>Microsoft Office PowerPoint</Application>
  <PresentationFormat>On-screen Show (4:3)</PresentationFormat>
  <Paragraphs>309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Wingdings</vt:lpstr>
      <vt:lpstr>Continental AG, 4x3</vt:lpstr>
      <vt:lpstr>think-cell Folie</vt:lpstr>
      <vt:lpstr>Visio</vt:lpstr>
      <vt:lpstr>DIO Driver Training Slides</vt:lpstr>
      <vt:lpstr>PowerPoint Presentation</vt:lpstr>
      <vt:lpstr>Functional Description &amp; Features </vt:lpstr>
      <vt:lpstr>PowerPoint Presentation</vt:lpstr>
      <vt:lpstr>APIs</vt:lpstr>
      <vt:lpstr>PowerPoint Presentation</vt:lpstr>
      <vt:lpstr>Integration Highlights</vt:lpstr>
      <vt:lpstr>PowerPoint Presentation</vt:lpstr>
      <vt:lpstr>Configuration Structure</vt:lpstr>
      <vt:lpstr>Configuration Example</vt:lpstr>
      <vt:lpstr>Configuration Example</vt:lpstr>
      <vt:lpstr>Configuration Example</vt:lpstr>
      <vt:lpstr>Configuration Example</vt:lpstr>
      <vt:lpstr>PowerPoint Presentation</vt:lpstr>
      <vt:lpstr>Dependencies</vt:lpstr>
      <vt:lpstr>PowerPoint Presentation</vt:lpstr>
      <vt:lpstr>HW Resources</vt:lpstr>
      <vt:lpstr>PowerPoint Presentation</vt:lpstr>
      <vt:lpstr>Constraints &amp; Limitations</vt:lpstr>
      <vt:lpstr>Document History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tefan Naujokat</dc:creator>
  <cp:lastModifiedBy>Hosamani, Akshata</cp:lastModifiedBy>
  <cp:revision>288</cp:revision>
  <dcterms:created xsi:type="dcterms:W3CDTF">2014-01-31T10:36:50Z</dcterms:created>
  <dcterms:modified xsi:type="dcterms:W3CDTF">2019-09-17T10:1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4AEFCD9DBB4E319E8DEF77F32B830D00559DCBCAA6BF8B4C8C4170D224F0B401</vt:lpwstr>
  </property>
  <property fmtid="{D5CDD505-2E9C-101B-9397-08002B2CF9AE}" pid="3" name="Order">
    <vt:r8>4500</vt:r8>
  </property>
  <property fmtid="{D5CDD505-2E9C-101B-9397-08002B2CF9AE}" pid="4" name="GUID">
    <vt:lpwstr>27e2cbd2-efe5-4bee-9963-ca0bccb786ee</vt:lpwstr>
  </property>
</Properties>
</file>